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58" r:id="rId2"/>
    <p:sldId id="260" r:id="rId3"/>
    <p:sldId id="354" r:id="rId4"/>
    <p:sldId id="259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1D1B1E"/>
    <a:srgbClr val="020003"/>
    <a:srgbClr val="DD1D21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22DE93-2094-4E45-907A-244EBC67BF50}" v="1" dt="2023-08-10T09:11:13.65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0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28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i, Mukhtar SPDC-IUC/G/UCS" userId="d4be2608-be44-4cf9-9f9e-541c57401552" providerId="ADAL" clId="{E022DE93-2094-4E45-907A-244EBC67BF50}"/>
    <pc:docChg chg="addSld delSld modSld">
      <pc:chgData name="Sani, Mukhtar SPDC-IUC/G/UCS" userId="d4be2608-be44-4cf9-9f9e-541c57401552" providerId="ADAL" clId="{E022DE93-2094-4E45-907A-244EBC67BF50}" dt="2023-08-10T09:11:38.502" v="14" actId="47"/>
      <pc:docMkLst>
        <pc:docMk/>
      </pc:docMkLst>
      <pc:sldChg chg="del">
        <pc:chgData name="Sani, Mukhtar SPDC-IUC/G/UCS" userId="d4be2608-be44-4cf9-9f9e-541c57401552" providerId="ADAL" clId="{E022DE93-2094-4E45-907A-244EBC67BF50}" dt="2023-08-10T09:11:38.502" v="14" actId="47"/>
        <pc:sldMkLst>
          <pc:docMk/>
          <pc:sldMk cId="2123246556" sldId="257"/>
        </pc:sldMkLst>
      </pc:sldChg>
      <pc:sldChg chg="modSp mod">
        <pc:chgData name="Sani, Mukhtar SPDC-IUC/G/UCS" userId="d4be2608-be44-4cf9-9f9e-541c57401552" providerId="ADAL" clId="{E022DE93-2094-4E45-907A-244EBC67BF50}" dt="2023-08-10T09:11:26.997" v="13" actId="20577"/>
        <pc:sldMkLst>
          <pc:docMk/>
          <pc:sldMk cId="2623095342" sldId="258"/>
        </pc:sldMkLst>
        <pc:spChg chg="mod">
          <ac:chgData name="Sani, Mukhtar SPDC-IUC/G/UCS" userId="d4be2608-be44-4cf9-9f9e-541c57401552" providerId="ADAL" clId="{E022DE93-2094-4E45-907A-244EBC67BF50}" dt="2023-08-10T09:11:26.997" v="13" actId="20577"/>
          <ac:spMkLst>
            <pc:docMk/>
            <pc:sldMk cId="2623095342" sldId="258"/>
            <ac:spMk id="7" creationId="{8A32C04C-4319-57D0-1C36-7FE254E032AA}"/>
          </ac:spMkLst>
        </pc:spChg>
        <pc:picChg chg="mod">
          <ac:chgData name="Sani, Mukhtar SPDC-IUC/G/UCS" userId="d4be2608-be44-4cf9-9f9e-541c57401552" providerId="ADAL" clId="{E022DE93-2094-4E45-907A-244EBC67BF50}" dt="2023-08-10T09:10:58.918" v="2" actId="14826"/>
          <ac:picMkLst>
            <pc:docMk/>
            <pc:sldMk cId="2623095342" sldId="258"/>
            <ac:picMk id="6" creationId="{379CDC21-E0CB-E58D-A12A-6925382A86AE}"/>
          </ac:picMkLst>
        </pc:picChg>
      </pc:sldChg>
      <pc:sldChg chg="add">
        <pc:chgData name="Sani, Mukhtar SPDC-IUC/G/UCS" userId="d4be2608-be44-4cf9-9f9e-541c57401552" providerId="ADAL" clId="{E022DE93-2094-4E45-907A-244EBC67BF50}" dt="2023-08-10T09:10:30.380" v="1"/>
        <pc:sldMkLst>
          <pc:docMk/>
          <pc:sldMk cId="4197746826" sldId="260"/>
        </pc:sldMkLst>
      </pc:sldChg>
      <pc:sldChg chg="add">
        <pc:chgData name="Sani, Mukhtar SPDC-IUC/G/UCS" userId="d4be2608-be44-4cf9-9f9e-541c57401552" providerId="ADAL" clId="{E022DE93-2094-4E45-907A-244EBC67BF50}" dt="2023-08-10T09:11:13.642" v="3"/>
        <pc:sldMkLst>
          <pc:docMk/>
          <pc:sldMk cId="0" sldId="354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D5B946-D2C1-4F4F-AE55-2C3927B75FE5}" type="datetimeFigureOut">
              <a:rPr lang="en-GB" smtClean="0"/>
              <a:t>2023-08-1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883F9E-6E1F-4D53-8E0A-CEB3231A20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16068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3</a:t>
            </a:fld>
            <a:endParaRPr lang="en-GB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980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A86F45-838D-4BF8-AD3D-59F5E069E3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B002B4-D7B3-411D-B3F7-9C14D8B159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30148F-1CFC-489B-A4E0-CE3B216FA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E2D45-FB3F-4A2E-A073-63B64C927BB4}" type="datetimeFigureOut">
              <a:rPr lang="en-GB" smtClean="0"/>
              <a:t>2023-08-1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A82F34-9D87-4845-8E9A-4D412A4D0E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6D5578-BD31-4EC1-B269-F9BE6D649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36CC5-0BE0-4CA0-BEAA-5849978C3C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01411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778129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B9CE4A6-2D40-E5B2-4721-4B504681C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50509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B9CE4A6-2D40-E5B2-4721-4B504681C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725EE9B-26C3-4D7C-A3B3-A9CAC5095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CFBAD8-18CD-40C2-A49C-0BDC1D6A44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E07EAC-3EB0-427E-B3D4-1DD1B979A6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ShellMedium" panose="00000600000000000000" pitchFamily="2" charset="0"/>
              </a:defRPr>
            </a:lvl1pPr>
          </a:lstStyle>
          <a:p>
            <a:fld id="{53AE2D45-FB3F-4A2E-A073-63B64C927BB4}" type="datetimeFigureOut">
              <a:rPr lang="en-GB" smtClean="0"/>
              <a:pPr/>
              <a:t>2023-08-10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A4CC11-7305-4295-93A6-3D1D92BA32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ShellMedium" panose="000006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05057C-78E7-4AE0-B592-11918E9FAF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ShellMedium" panose="00000600000000000000" pitchFamily="2" charset="0"/>
              </a:defRPr>
            </a:lvl1pPr>
          </a:lstStyle>
          <a:p>
            <a:fld id="{F8E36CC5-0BE0-4CA0-BEAA-5849978C3C2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7275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ShellBold" panose="00000800000000000000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hellMedium" panose="000006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hellMedium" panose="000006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hellMedium" panose="000006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hellMedium" panose="000006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hellMedium" panose="000006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61E28-60FA-2257-5F31-80FD5A5599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500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61E28-60FA-2257-5F31-80FD5A5599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379CDC21-E0CB-E58D-A12A-6925382A86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4205" y="903902"/>
            <a:ext cx="11656957" cy="555214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A32C04C-4319-57D0-1C36-7FE254E032AA}"/>
              </a:ext>
            </a:extLst>
          </p:cNvPr>
          <p:cNvSpPr txBox="1"/>
          <p:nvPr/>
        </p:nvSpPr>
        <p:spPr>
          <a:xfrm>
            <a:off x="820132" y="207390"/>
            <a:ext cx="44494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Fire Water</a:t>
            </a:r>
          </a:p>
        </p:txBody>
      </p:sp>
    </p:spTree>
    <p:extLst>
      <p:ext uri="{BB962C8B-B14F-4D97-AF65-F5344CB8AC3E}">
        <p14:creationId xmlns:p14="http://schemas.microsoft.com/office/powerpoint/2010/main" val="26230953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61E28-60FA-2257-5F31-80FD5A5599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61E28-60FA-2257-5F31-80FD5A5599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379CDC21-E0CB-E58D-A12A-6925382A86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4205" y="828006"/>
            <a:ext cx="11656957" cy="57039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A32C04C-4319-57D0-1C36-7FE254E032AA}"/>
              </a:ext>
            </a:extLst>
          </p:cNvPr>
          <p:cNvSpPr txBox="1"/>
          <p:nvPr/>
        </p:nvSpPr>
        <p:spPr>
          <a:xfrm>
            <a:off x="820132" y="207390"/>
            <a:ext cx="44494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HVAC FCF</a:t>
            </a:r>
          </a:p>
        </p:txBody>
      </p:sp>
    </p:spTree>
    <p:extLst>
      <p:ext uri="{BB962C8B-B14F-4D97-AF65-F5344CB8AC3E}">
        <p14:creationId xmlns:p14="http://schemas.microsoft.com/office/powerpoint/2010/main" val="41977468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161E28-60FA-2257-5F31-80FD5A5599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161E28-60FA-2257-5F31-80FD5A5599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404445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Shell Futura Font Theme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.potx" id="{CED461D8-3171-4273-A831-AE00D50E602B}" vid="{592A44DA-0034-4F8C-A571-9113A0A156F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</TotalTime>
  <Words>5</Words>
  <Application>Microsoft Office PowerPoint</Application>
  <PresentationFormat>Widescreen</PresentationFormat>
  <Paragraphs>3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Calibri</vt:lpstr>
      <vt:lpstr>Futura Medium</vt:lpstr>
      <vt:lpstr>ShellBold</vt:lpstr>
      <vt:lpstr>Shellmedium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i, Mukhtar SPDC-IUC/G/UCS</dc:creator>
  <cp:lastModifiedBy>Sani, Mukhtar SPDC-IUC/G/UCS</cp:lastModifiedBy>
  <cp:revision>1</cp:revision>
  <dcterms:created xsi:type="dcterms:W3CDTF">2023-08-10T09:06:23Z</dcterms:created>
  <dcterms:modified xsi:type="dcterms:W3CDTF">2023-08-10T09:11:41Z</dcterms:modified>
</cp:coreProperties>
</file>